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4" r:id="rId5"/>
    <p:sldMasterId id="2147484579" r:id="rId6"/>
    <p:sldMasterId id="2147484631" r:id="rId7"/>
  </p:sldMasterIdLst>
  <p:notesMasterIdLst>
    <p:notesMasterId r:id="rId22"/>
  </p:notesMasterIdLst>
  <p:sldIdLst>
    <p:sldId id="401" r:id="rId8"/>
    <p:sldId id="869" r:id="rId9"/>
    <p:sldId id="876" r:id="rId10"/>
    <p:sldId id="455" r:id="rId11"/>
    <p:sldId id="1115" r:id="rId12"/>
    <p:sldId id="920" r:id="rId13"/>
    <p:sldId id="900" r:id="rId14"/>
    <p:sldId id="887" r:id="rId15"/>
    <p:sldId id="903" r:id="rId16"/>
    <p:sldId id="919" r:id="rId17"/>
    <p:sldId id="843" r:id="rId18"/>
    <p:sldId id="904" r:id="rId19"/>
    <p:sldId id="1114" r:id="rId20"/>
    <p:sldId id="360" r:id="rId21"/>
  </p:sldIdLst>
  <p:sldSz cx="12192000" cy="6858000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ormata Regular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B35E70-E978-4B8E-B79D-FE567F55CA72}" v="4" dt="2026-07-06T18:41:21.275"/>
    <p1510:client id="{E2CC72FE-71C4-472C-A698-CED464479519}" v="3" dt="2026-07-06T18:29:31.4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498" y="90"/>
      </p:cViewPr>
      <p:guideLst>
        <p:guide orient="horz" pos="2183"/>
        <p:guide pos="38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 Herbst" userId="bc51fe2a8b6449c6" providerId="LiveId" clId="{3522059A-6E4D-4341-85CB-96D4403F5A80}"/>
    <pc:docChg chg="custSel modSld">
      <pc:chgData name="Philipp Herbst" userId="bc51fe2a8b6449c6" providerId="LiveId" clId="{3522059A-6E4D-4341-85CB-96D4403F5A80}" dt="2026-07-06T18:29:33.891" v="24" actId="1076"/>
      <pc:docMkLst>
        <pc:docMk/>
      </pc:docMkLst>
      <pc:sldChg chg="addSp delSp modSp mod">
        <pc:chgData name="Philipp Herbst" userId="bc51fe2a8b6449c6" providerId="LiveId" clId="{3522059A-6E4D-4341-85CB-96D4403F5A80}" dt="2026-07-06T18:29:17.143" v="18"/>
        <pc:sldMkLst>
          <pc:docMk/>
          <pc:sldMk cId="0" sldId="360"/>
        </pc:sldMkLst>
        <pc:picChg chg="add mod">
          <ac:chgData name="Philipp Herbst" userId="bc51fe2a8b6449c6" providerId="LiveId" clId="{3522059A-6E4D-4341-85CB-96D4403F5A80}" dt="2026-07-06T18:29:17.143" v="18"/>
          <ac:picMkLst>
            <pc:docMk/>
            <pc:sldMk cId="0" sldId="360"/>
            <ac:picMk id="2" creationId="{4BFD5676-3D58-E4AE-FCEC-2BA61EB0F422}"/>
          </ac:picMkLst>
        </pc:picChg>
        <pc:picChg chg="del">
          <ac:chgData name="Philipp Herbst" userId="bc51fe2a8b6449c6" providerId="LiveId" clId="{3522059A-6E4D-4341-85CB-96D4403F5A80}" dt="2026-07-06T18:29:15.373" v="16" actId="478"/>
          <ac:picMkLst>
            <pc:docMk/>
            <pc:sldMk cId="0" sldId="360"/>
            <ac:picMk id="3" creationId="{E1156363-4671-7672-D30C-EFED01D4D9EE}"/>
          </ac:picMkLst>
        </pc:picChg>
        <pc:picChg chg="add mod">
          <ac:chgData name="Philipp Herbst" userId="bc51fe2a8b6449c6" providerId="LiveId" clId="{3522059A-6E4D-4341-85CB-96D4403F5A80}" dt="2026-07-06T18:29:17.143" v="18"/>
          <ac:picMkLst>
            <pc:docMk/>
            <pc:sldMk cId="0" sldId="360"/>
            <ac:picMk id="4" creationId="{D90DA468-13D7-809C-A9F3-65B06FD83157}"/>
          </ac:picMkLst>
        </pc:picChg>
        <pc:picChg chg="del">
          <ac:chgData name="Philipp Herbst" userId="bc51fe2a8b6449c6" providerId="LiveId" clId="{3522059A-6E4D-4341-85CB-96D4403F5A80}" dt="2026-07-06T18:29:16.122" v="17" actId="478"/>
          <ac:picMkLst>
            <pc:docMk/>
            <pc:sldMk cId="0" sldId="360"/>
            <ac:picMk id="8" creationId="{36007F99-0460-A475-A63D-C25D7CA6E8AD}"/>
          </ac:picMkLst>
        </pc:picChg>
      </pc:sldChg>
      <pc:sldChg chg="addSp delSp modSp mod">
        <pc:chgData name="Philipp Herbst" userId="bc51fe2a8b6449c6" providerId="LiveId" clId="{3522059A-6E4D-4341-85CB-96D4403F5A80}" dt="2026-07-06T18:29:07.562" v="15" actId="1076"/>
        <pc:sldMkLst>
          <pc:docMk/>
          <pc:sldMk cId="0" sldId="401"/>
        </pc:sldMkLst>
        <pc:picChg chg="del">
          <ac:chgData name="Philipp Herbst" userId="bc51fe2a8b6449c6" providerId="LiveId" clId="{3522059A-6E4D-4341-85CB-96D4403F5A80}" dt="2026-07-06T18:28:12.071" v="0" actId="478"/>
          <ac:picMkLst>
            <pc:docMk/>
            <pc:sldMk cId="0" sldId="401"/>
            <ac:picMk id="2" creationId="{0656AD08-F6C0-E166-B2ED-709F465F2F07}"/>
          </ac:picMkLst>
        </pc:picChg>
        <pc:picChg chg="del">
          <ac:chgData name="Philipp Herbst" userId="bc51fe2a8b6449c6" providerId="LiveId" clId="{3522059A-6E4D-4341-85CB-96D4403F5A80}" dt="2026-07-06T18:28:54.676" v="8" actId="478"/>
          <ac:picMkLst>
            <pc:docMk/>
            <pc:sldMk cId="0" sldId="401"/>
            <ac:picMk id="4" creationId="{E83F784F-3670-5565-ADBB-CC8E629F35A9}"/>
          </ac:picMkLst>
        </pc:picChg>
        <pc:picChg chg="add mod">
          <ac:chgData name="Philipp Herbst" userId="bc51fe2a8b6449c6" providerId="LiveId" clId="{3522059A-6E4D-4341-85CB-96D4403F5A80}" dt="2026-07-06T18:28:33.292" v="7" actId="1076"/>
          <ac:picMkLst>
            <pc:docMk/>
            <pc:sldMk cId="0" sldId="401"/>
            <ac:picMk id="6" creationId="{4D2C9A81-7D5C-CDD7-90C7-97531CD3EFF4}"/>
          </ac:picMkLst>
        </pc:picChg>
        <pc:picChg chg="add mod">
          <ac:chgData name="Philipp Herbst" userId="bc51fe2a8b6449c6" providerId="LiveId" clId="{3522059A-6E4D-4341-85CB-96D4403F5A80}" dt="2026-07-06T18:29:07.562" v="15" actId="1076"/>
          <ac:picMkLst>
            <pc:docMk/>
            <pc:sldMk cId="0" sldId="401"/>
            <ac:picMk id="7" creationId="{F5915CA6-C0D2-A05F-29F4-73EDB28911EA}"/>
          </ac:picMkLst>
        </pc:picChg>
      </pc:sldChg>
      <pc:sldChg chg="addSp delSp modSp mod">
        <pc:chgData name="Philipp Herbst" userId="bc51fe2a8b6449c6" providerId="LiveId" clId="{3522059A-6E4D-4341-85CB-96D4403F5A80}" dt="2026-07-06T18:29:33.891" v="24" actId="1076"/>
        <pc:sldMkLst>
          <pc:docMk/>
          <pc:sldMk cId="0" sldId="455"/>
        </pc:sldMkLst>
        <pc:picChg chg="del">
          <ac:chgData name="Philipp Herbst" userId="bc51fe2a8b6449c6" providerId="LiveId" clId="{3522059A-6E4D-4341-85CB-96D4403F5A80}" dt="2026-07-06T18:29:30.466" v="22" actId="478"/>
          <ac:picMkLst>
            <pc:docMk/>
            <pc:sldMk cId="0" sldId="455"/>
            <ac:picMk id="4" creationId="{4CE30FC1-8CCF-AA0A-0FF8-4E0B8A354B5A}"/>
          </ac:picMkLst>
        </pc:picChg>
        <pc:picChg chg="add mod">
          <ac:chgData name="Philipp Herbst" userId="bc51fe2a8b6449c6" providerId="LiveId" clId="{3522059A-6E4D-4341-85CB-96D4403F5A80}" dt="2026-07-06T18:29:33.891" v="24" actId="1076"/>
          <ac:picMkLst>
            <pc:docMk/>
            <pc:sldMk cId="0" sldId="455"/>
            <ac:picMk id="6" creationId="{5B4379FB-B43F-D21A-3CB8-7E3ED867BA91}"/>
          </ac:picMkLst>
        </pc:picChg>
      </pc:sldChg>
      <pc:sldChg chg="addSp delSp modSp mod">
        <pc:chgData name="Philipp Herbst" userId="bc51fe2a8b6449c6" providerId="LiveId" clId="{3522059A-6E4D-4341-85CB-96D4403F5A80}" dt="2026-07-06T18:29:28.272" v="21" actId="1076"/>
        <pc:sldMkLst>
          <pc:docMk/>
          <pc:sldMk cId="2308716823" sldId="1115"/>
        </pc:sldMkLst>
        <pc:picChg chg="add mod">
          <ac:chgData name="Philipp Herbst" userId="bc51fe2a8b6449c6" providerId="LiveId" clId="{3522059A-6E4D-4341-85CB-96D4403F5A80}" dt="2026-07-06T18:29:28.272" v="21" actId="1076"/>
          <ac:picMkLst>
            <pc:docMk/>
            <pc:sldMk cId="2308716823" sldId="1115"/>
            <ac:picMk id="2" creationId="{DF240DBC-55A9-04AE-C2EE-9E32A8A712CE}"/>
          </ac:picMkLst>
        </pc:picChg>
        <pc:picChg chg="del">
          <ac:chgData name="Philipp Herbst" userId="bc51fe2a8b6449c6" providerId="LiveId" clId="{3522059A-6E4D-4341-85CB-96D4403F5A80}" dt="2026-07-06T18:29:24.877" v="19" actId="478"/>
          <ac:picMkLst>
            <pc:docMk/>
            <pc:sldMk cId="2308716823" sldId="1115"/>
            <ac:picMk id="4" creationId="{9A0132E8-D79B-295D-C5C7-9C39CC791236}"/>
          </ac:picMkLst>
        </pc:picChg>
      </pc:sldChg>
    </pc:docChg>
  </pc:docChgLst>
  <pc:docChgLst>
    <pc:chgData name="Philipp Herbst" userId="S::philipp.herbst_gmx.de#ext#@wuerttfv.onmicrosoft.com::4553134d-b316-4141-8d58-bca6287d7ae7" providerId="AD" clId="Web-{68B35E70-E978-4B8E-B79D-FE567F55CA72}"/>
    <pc:docChg chg="modSld">
      <pc:chgData name="Philipp Herbst" userId="S::philipp.herbst_gmx.de#ext#@wuerttfv.onmicrosoft.com::4553134d-b316-4141-8d58-bca6287d7ae7" providerId="AD" clId="Web-{68B35E70-E978-4B8E-B79D-FE567F55CA72}" dt="2026-07-06T18:41:17.181" v="0" actId="20577"/>
      <pc:docMkLst>
        <pc:docMk/>
      </pc:docMkLst>
      <pc:sldChg chg="modSp">
        <pc:chgData name="Philipp Herbst" userId="S::philipp.herbst_gmx.de#ext#@wuerttfv.onmicrosoft.com::4553134d-b316-4141-8d58-bca6287d7ae7" providerId="AD" clId="Web-{68B35E70-E978-4B8E-B79D-FE567F55CA72}" dt="2026-07-06T18:41:17.181" v="0" actId="20577"/>
        <pc:sldMkLst>
          <pc:docMk/>
          <pc:sldMk cId="529748996" sldId="887"/>
        </pc:sldMkLst>
        <pc:spChg chg="mod">
          <ac:chgData name="Philipp Herbst" userId="S::philipp.herbst_gmx.de#ext#@wuerttfv.onmicrosoft.com::4553134d-b316-4141-8d58-bca6287d7ae7" providerId="AD" clId="Web-{68B35E70-E978-4B8E-B79D-FE567F55CA72}" dt="2026-07-06T18:41:17.181" v="0" actId="20577"/>
          <ac:spMkLst>
            <pc:docMk/>
            <pc:sldMk cId="529748996" sldId="887"/>
            <ac:spMk id="8" creationId="{AB65AD4B-2D7F-C453-5EDC-E3E1E7B5B51B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7-09T20:56:26.24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fld id="{38E5765B-BD15-48E7-8E43-6E8901022697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4768" tIns="47384" rIns="94768" bIns="47384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263"/>
            <a:ext cx="3076575" cy="512762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0263"/>
            <a:ext cx="3076575" cy="512762"/>
          </a:xfrm>
          <a:prstGeom prst="rect">
            <a:avLst/>
          </a:prstGeom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F27268A-F662-4D70-8C7D-55A2E28CD47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385060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8350" indent="-29368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2688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5763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0425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76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48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20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592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554E362C-87E7-4996-B151-39017A78E4C3}" type="slidenum">
              <a:rPr lang="de-DE" altLang="de-DE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99021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536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9938" indent="-2952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4275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7350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2013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92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64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36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608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2F599AAD-313F-4962-8EBD-55F3875DE158}" type="slidenum">
              <a:rPr lang="de-DE" altLang="de-DE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04165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9460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9938" indent="-2952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4275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7350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2013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92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64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36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608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F37C3E13-BF40-4593-8310-A1EDC2844BD1}" type="slidenum">
              <a:rPr lang="de-DE" altLang="de-DE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30994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D5F4D-E575-8CF2-E92A-32D5AE7FC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Folienbildplatzhalter 1">
            <a:extLst>
              <a:ext uri="{FF2B5EF4-FFF2-40B4-BE49-F238E27FC236}">
                <a16:creationId xmlns:a16="http://schemas.microsoft.com/office/drawing/2014/main" id="{A958A9C1-E871-31AE-85CD-51246EC4677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izenplatzhalter 2">
            <a:extLst>
              <a:ext uri="{FF2B5EF4-FFF2-40B4-BE49-F238E27FC236}">
                <a16:creationId xmlns:a16="http://schemas.microsoft.com/office/drawing/2014/main" id="{E0906C7E-DA03-6D77-C9BA-199E1084B4C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9460" name="Foliennummernplatzhalter 3">
            <a:extLst>
              <a:ext uri="{FF2B5EF4-FFF2-40B4-BE49-F238E27FC236}">
                <a16:creationId xmlns:a16="http://schemas.microsoft.com/office/drawing/2014/main" id="{7DAF87CF-1EF7-F1F5-028C-F4CD3FD567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9938" indent="-2952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4275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7350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2013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92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64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36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608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F37C3E13-BF40-4593-8310-A1EDC2844BD1}" type="slidenum">
              <a:rPr lang="de-DE" altLang="de-DE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7715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536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9938" indent="-2952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4275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7350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2013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92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64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36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608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2F599AAD-313F-4962-8EBD-55F3875DE158}" type="slidenum">
              <a:rPr lang="de-DE" altLang="de-DE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19041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1536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9938" indent="-2952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4275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7350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2013" indent="-23653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92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64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36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60813" indent="-236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2F599AAD-313F-4962-8EBD-55F3875DE158}" type="slidenum">
              <a:rPr lang="de-DE" altLang="de-DE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20125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560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39775" indent="-28257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39825" indent="-22542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597025" indent="-22542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4225" indent="-225425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14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686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58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30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3FE4E8E0-ED3F-46AD-9428-3B78C5D2C122}" type="slidenum">
              <a:rPr lang="de-DE" altLang="de-DE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9799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78852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68350" indent="-293688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82688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55763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130425" indent="-2349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876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30448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5020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959225" indent="-234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fld id="{902A2D62-55CE-4A64-B77F-DE968CBEFE7C}" type="slidenum">
              <a:rPr lang="de-DE" altLang="de-DE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50823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431801" y="404814"/>
            <a:ext cx="9503833" cy="523220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 sz="2800" b="1" dirty="0">
              <a:cs typeface="Arial" charset="0"/>
            </a:endParaRPr>
          </a:p>
        </p:txBody>
      </p:sp>
      <p:grpSp>
        <p:nvGrpSpPr>
          <p:cNvPr id="3" name="Group 5"/>
          <p:cNvGrpSpPr>
            <a:grpSpLocks noChangeAspect="1"/>
          </p:cNvGrpSpPr>
          <p:nvPr userDrawn="1"/>
        </p:nvGrpSpPr>
        <p:grpSpPr bwMode="auto">
          <a:xfrm rot="228397">
            <a:off x="10604347" y="297271"/>
            <a:ext cx="850361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5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 useBgFill="1">
        <p:nvSpPr>
          <p:cNvPr id="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51" y="6453189"/>
            <a:ext cx="3647016" cy="293687"/>
          </a:xfrm>
          <a:prstGeom prst="rect">
            <a:avLst/>
          </a:prstGeom>
        </p:spPr>
        <p:txBody>
          <a:bodyPr/>
          <a:lstStyle>
            <a:lvl1pPr algn="l" eaLnBrk="1" hangingPunct="1">
              <a:defRPr sz="1000" baseline="0">
                <a:solidFill>
                  <a:schemeClr val="tx1"/>
                </a:solidFill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		         Seite 1</a:t>
            </a:r>
          </a:p>
        </p:txBody>
      </p:sp>
    </p:spTree>
    <p:extLst>
      <p:ext uri="{BB962C8B-B14F-4D97-AF65-F5344CB8AC3E}">
        <p14:creationId xmlns:p14="http://schemas.microsoft.com/office/powerpoint/2010/main" val="22179642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AD3E5BA-AFEA-46EA-970F-10C3332CCE0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955163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1E947E-D8D7-42C7-81E7-2059FE426CC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7832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B900E4-5FBE-4F89-B202-337C179A98A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832704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588048-E659-4385-8EF2-48FFEA7F337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14492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D7A67-A7E5-429F-93F6-4E6F77EF1DDD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8BC262-2E8C-4EDA-BC61-F6675D4DBB6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65612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1584" y="1196755"/>
            <a:ext cx="10515600" cy="4980211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93004B-2234-4C4F-82BC-0524C4AFA476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4EB5CA-98CA-4318-A7AC-99B3F8BCE1E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56830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1584" y="1196755"/>
            <a:ext cx="10515600" cy="49802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C57B0-D236-458B-B4C0-872CE2C603FE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6AEC9B-4118-4848-BE9F-94335DD5EC5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226129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C1E50-ED52-4CE0-AFAE-D640267B0C1F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599737-B619-48ED-8B70-D2540F5A078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172212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12777"/>
            <a:ext cx="5156200" cy="476418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412777"/>
            <a:ext cx="5156200" cy="476418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7FCABD-FBF2-4FBD-8C59-827DEE2CDC16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FCACA1-E6EF-42BB-AA6F-F995296D592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205437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3" y="404665"/>
            <a:ext cx="9108809" cy="36004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2" y="1092920"/>
            <a:ext cx="5158316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9" y="1988840"/>
            <a:ext cx="5158316" cy="42008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092920"/>
            <a:ext cx="518371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1988841"/>
            <a:ext cx="5183717" cy="42008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83A102-2A63-496C-80B6-57FEFE1D0A58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6D39E6-163A-4451-87D1-6392F3711967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65738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569131-B45B-A1F8-DCDA-B889A43BF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BE386-0066-0171-1318-D7FA999C23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747019-51D8-84B7-45A3-129135E23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687DB-2C45-4BF4-8825-FA13719DF9BE}" type="datetimeFigureOut">
              <a:rPr lang="de-DE" smtClean="0"/>
              <a:t>06.07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2672F6-8167-BDA6-C0CD-396DFAD01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085077-B656-39F1-0F19-5EF228FCB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E51EE-237F-4AEB-8950-004DAF433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707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F691B6-5CC5-44B4-B7D3-1C3E451C267A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E26C8B-CAA6-4731-96DF-9D3CA7152CA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668709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3B0F46-3CA8-4778-9BAA-16AA6FBA745C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B0EC84-94E2-4626-AA19-2128C9FA608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741686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2" y="404664"/>
            <a:ext cx="9025003" cy="360040"/>
          </a:xfr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9" y="987428"/>
            <a:ext cx="3932767" cy="48815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80556E-B091-4577-9D9E-753055F56525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7C91E4-6244-4F60-AD6E-1D4948A125A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836698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2" y="1009650"/>
            <a:ext cx="393276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9" y="2609850"/>
            <a:ext cx="3932767" cy="32591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C4B015-E2F7-4E7D-A862-5E108EB42479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5D6DA1-4BB2-4B1E-9842-C0D8844A2D3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302237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ADA302-114E-4B31-9898-A993ECCC6CD8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F76EFC-9338-481C-9EC1-6F5371DFA27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435978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2" y="2060847"/>
            <a:ext cx="2628900" cy="411611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2" y="980730"/>
            <a:ext cx="7683500" cy="519623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A712-1D09-4F3D-B960-E9D2B77C7E6E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CC77584-DF98-492D-B565-4EC267E5FFC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19866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5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0" y="381000"/>
            <a:ext cx="12192000" cy="369888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>
              <a:cs typeface="Arial" charset="0"/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auto">
          <a:xfrm rot="228397">
            <a:off x="10839291" y="-72686"/>
            <a:ext cx="86833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8" name="Picture 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 useBgFill="1">
        <p:nvSpPr>
          <p:cNvPr id="10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51" y="6453189"/>
            <a:ext cx="3647016" cy="293687"/>
          </a:xfrm>
        </p:spPr>
        <p:txBody>
          <a:bodyPr/>
          <a:lstStyle>
            <a:lvl1pPr algn="l" eaLnBrk="1" hangingPunct="1">
              <a:defRPr sz="750" baseline="0" dirty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		         Seite 1</a:t>
            </a:r>
          </a:p>
        </p:txBody>
      </p:sp>
    </p:spTree>
    <p:extLst>
      <p:ext uri="{BB962C8B-B14F-4D97-AF65-F5344CB8AC3E}">
        <p14:creationId xmlns:p14="http://schemas.microsoft.com/office/powerpoint/2010/main" val="7529774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5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0" y="381000"/>
            <a:ext cx="12192000" cy="369888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>
              <a:cs typeface="Arial" charset="0"/>
            </a:endParaRPr>
          </a:p>
        </p:txBody>
      </p:sp>
      <p:grpSp>
        <p:nvGrpSpPr>
          <p:cNvPr id="5" name="Group 5"/>
          <p:cNvGrpSpPr>
            <a:grpSpLocks noChangeAspect="1"/>
          </p:cNvGrpSpPr>
          <p:nvPr userDrawn="1"/>
        </p:nvGrpSpPr>
        <p:grpSpPr bwMode="auto">
          <a:xfrm rot="228397">
            <a:off x="10839291" y="-72686"/>
            <a:ext cx="86833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7" name="Picture 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 useBgFill="1"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51" y="6453189"/>
            <a:ext cx="3647016" cy="293687"/>
          </a:xfrm>
        </p:spPr>
        <p:txBody>
          <a:bodyPr/>
          <a:lstStyle>
            <a:lvl1pPr algn="l" eaLnBrk="1" hangingPunct="1">
              <a:defRPr sz="750" baseline="0" dirty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		         Seite 1</a:t>
            </a:r>
          </a:p>
        </p:txBody>
      </p:sp>
    </p:spTree>
    <p:extLst>
      <p:ext uri="{BB962C8B-B14F-4D97-AF65-F5344CB8AC3E}">
        <p14:creationId xmlns:p14="http://schemas.microsoft.com/office/powerpoint/2010/main" val="2150719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5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0" y="381000"/>
            <a:ext cx="12192000" cy="369888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>
              <a:cs typeface="Arial" charset="0"/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auto">
          <a:xfrm rot="228397">
            <a:off x="10839291" y="-72686"/>
            <a:ext cx="86833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8" name="Picture 6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9" name="Objekt 1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9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125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0" y="381000"/>
            <a:ext cx="12192000" cy="369888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>
              <a:cs typeface="Arial" charset="0"/>
            </a:endParaRPr>
          </a:p>
        </p:txBody>
      </p:sp>
      <p:grpSp>
        <p:nvGrpSpPr>
          <p:cNvPr id="12" name="Group 5"/>
          <p:cNvGrpSpPr>
            <a:grpSpLocks noChangeAspect="1"/>
          </p:cNvGrpSpPr>
          <p:nvPr userDrawn="1"/>
        </p:nvGrpSpPr>
        <p:grpSpPr bwMode="auto">
          <a:xfrm rot="228397">
            <a:off x="10839293" y="-72686"/>
            <a:ext cx="86833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14" name="Picture 6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16" y="364675"/>
            <a:ext cx="10515771" cy="132669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57736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9418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94F8DA-4D1E-4A52-AC63-6C5CB1AC067F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209600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1584" y="1196755"/>
            <a:ext cx="10515600" cy="498021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8360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1584" y="1196755"/>
            <a:ext cx="10515600" cy="49802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8123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5693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12777"/>
            <a:ext cx="5156200" cy="476418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412777"/>
            <a:ext cx="5156200" cy="476418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206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3" y="404665"/>
            <a:ext cx="9108809" cy="36004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2" y="1092920"/>
            <a:ext cx="5158316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9" y="1988840"/>
            <a:ext cx="5158316" cy="42008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092920"/>
            <a:ext cx="518371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1988841"/>
            <a:ext cx="5183717" cy="42008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7327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3490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02270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2" y="404664"/>
            <a:ext cx="9025003" cy="360040"/>
          </a:xfr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9" y="987428"/>
            <a:ext cx="3932767" cy="48815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2536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2" y="1009650"/>
            <a:ext cx="393276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9" y="2609850"/>
            <a:ext cx="3932767" cy="32591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3653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122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A4EA81-251B-4D7C-801A-35395347125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063077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2" y="2060847"/>
            <a:ext cx="2628900" cy="411611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2" y="980730"/>
            <a:ext cx="7683500" cy="519623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6309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51" y="6453191"/>
            <a:ext cx="3647016" cy="293687"/>
          </a:xfrm>
          <a:prstGeom prst="rect">
            <a:avLst/>
          </a:prstGeom>
        </p:spPr>
        <p:txBody>
          <a:bodyPr/>
          <a:lstStyle>
            <a:lvl1pPr algn="l" eaLnBrk="1" hangingPunct="1">
              <a:defRPr sz="750" baseline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227260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51" y="6453191"/>
            <a:ext cx="3647016" cy="293687"/>
          </a:xfrm>
          <a:prstGeom prst="rect">
            <a:avLst/>
          </a:prstGeom>
        </p:spPr>
        <p:txBody>
          <a:bodyPr/>
          <a:lstStyle>
            <a:lvl1pPr algn="l" eaLnBrk="1" hangingPunct="1">
              <a:defRPr sz="750" baseline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420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>
            <a:extLst>
              <a:ext uri="{FF2B5EF4-FFF2-40B4-BE49-F238E27FC236}">
                <a16:creationId xmlns:a16="http://schemas.microsoft.com/office/drawing/2014/main" id="{78D5920A-B69E-47D4-9202-70195E40727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228397">
            <a:off x="11274959" y="-18735"/>
            <a:ext cx="513456" cy="1148110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" name="AutoShape 4">
              <a:extLst>
                <a:ext uri="{FF2B5EF4-FFF2-40B4-BE49-F238E27FC236}">
                  <a16:creationId xmlns:a16="http://schemas.microsoft.com/office/drawing/2014/main" id="{2A5822B5-EC31-4BE7-86F1-56684C4B58D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4" name="Picture 6">
              <a:extLst>
                <a:ext uri="{FF2B5EF4-FFF2-40B4-BE49-F238E27FC236}">
                  <a16:creationId xmlns:a16="http://schemas.microsoft.com/office/drawing/2014/main" id="{B2FF93E3-78BD-417D-8DC1-C52E775CD4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947CB31-BC7E-4916-83A8-694FDEBDE04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83433" y="1140268"/>
            <a:ext cx="10081443" cy="52410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D3987C2-650F-48E9-9182-5716AFADB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3432" y="188641"/>
            <a:ext cx="9937104" cy="36004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42046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431801" y="404815"/>
            <a:ext cx="9504363" cy="369887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endParaRPr lang="de-DE">
              <a:solidFill>
                <a:prstClr val="black"/>
              </a:solidFill>
              <a:cs typeface="Arial" charset="0"/>
            </a:endParaRPr>
          </a:p>
        </p:txBody>
      </p:sp>
      <p:grpSp>
        <p:nvGrpSpPr>
          <p:cNvPr id="3" name="Group 5"/>
          <p:cNvGrpSpPr>
            <a:grpSpLocks noChangeAspect="1"/>
          </p:cNvGrpSpPr>
          <p:nvPr userDrawn="1"/>
        </p:nvGrpSpPr>
        <p:grpSpPr bwMode="auto">
          <a:xfrm rot="228397">
            <a:off x="10712672" y="-16970"/>
            <a:ext cx="771819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 useBgFill="1">
        <p:nvSpPr>
          <p:cNvPr id="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401049" y="6453190"/>
            <a:ext cx="3646488" cy="293687"/>
          </a:xfrm>
          <a:prstGeom prst="rect">
            <a:avLst/>
          </a:prstGeom>
        </p:spPr>
        <p:txBody>
          <a:bodyPr/>
          <a:lstStyle>
            <a:lvl1pPr algn="l" eaLnBrk="1" hangingPunct="1">
              <a:defRPr sz="750" baseline="0">
                <a:solidFill>
                  <a:schemeClr val="tx1"/>
                </a:solidFill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Seite 4</a:t>
            </a:r>
          </a:p>
        </p:txBody>
      </p:sp>
    </p:spTree>
    <p:extLst>
      <p:ext uri="{BB962C8B-B14F-4D97-AF65-F5344CB8AC3E}">
        <p14:creationId xmlns:p14="http://schemas.microsoft.com/office/powerpoint/2010/main" val="446790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E6D28B-11B8-4882-9A67-E306A97401F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46718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64E0E3-C9B4-43A0-A2DE-7A177E0B2F8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4404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98214F-6284-49BA-8E1D-D14D26E30AA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75653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F4A011-D019-4474-9084-56BBC00AC2A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4031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EDA1A9-E2FE-4679-B617-87445E3ECE8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99263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3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624" r:id="rId1"/>
    <p:sldLayoutId id="2147484648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Formata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Formata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Formata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Formata Regular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ormata Regular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ormata Regular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ormata Regular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ormata Regular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ormata Regular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           Seite 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31F13FE5-F39B-4C1B-92A0-02EC2639E425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1" r:id="rId1"/>
    <p:sldLayoutId id="2147484602" r:id="rId2"/>
    <p:sldLayoutId id="2147484603" r:id="rId3"/>
    <p:sldLayoutId id="2147484604" r:id="rId4"/>
    <p:sldLayoutId id="2147484605" r:id="rId5"/>
    <p:sldLayoutId id="2147484606" r:id="rId6"/>
    <p:sldLayoutId id="2147484607" r:id="rId7"/>
    <p:sldLayoutId id="2147484608" r:id="rId8"/>
    <p:sldLayoutId id="2147484609" r:id="rId9"/>
    <p:sldLayoutId id="2147484610" r:id="rId10"/>
    <p:sldLayoutId id="214748461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1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60" imgH="360" progId="TCLayout.ActiveDocument.1">
                  <p:embed/>
                </p:oleObj>
              </mc:Choice>
              <mc:Fallback>
                <p:oleObj name="think-cell Folie" r:id="rId19" imgW="360" imgH="360" progId="TCLayout.ActiveDocument.1">
                  <p:embed/>
                  <p:pic>
                    <p:nvPicPr>
                      <p:cNvPr id="2050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5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1" y="381000"/>
            <a:ext cx="9871745" cy="369888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 wrap="square">
            <a:spAutoFit/>
          </a:bodyPr>
          <a:lstStyle/>
          <a:p>
            <a:pPr eaLnBrk="1" hangingPunct="1">
              <a:defRPr/>
            </a:pPr>
            <a:endParaRPr lang="de-DE">
              <a:cs typeface="Arial" charset="0"/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 rot="228397">
            <a:off x="10238517" y="237068"/>
            <a:ext cx="131501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  <a:cs typeface="+mn-cs"/>
              </a:endParaRPr>
            </a:p>
          </p:txBody>
        </p:sp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54" name="Titelplatzhalter 1"/>
          <p:cNvSpPr>
            <a:spLocks noGrp="1" noChangeArrowheads="1"/>
          </p:cNvSpPr>
          <p:nvPr>
            <p:ph type="title"/>
          </p:nvPr>
        </p:nvSpPr>
        <p:spPr bwMode="auto">
          <a:xfrm>
            <a:off x="421217" y="407988"/>
            <a:ext cx="91948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196975"/>
            <a:ext cx="10515600" cy="4979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1264DDB-029C-4F60-9216-E67CC888170D}" type="datetimeFigureOut">
              <a:rPr lang="de-DE"/>
              <a:pPr>
                <a:defRPr/>
              </a:pPr>
              <a:t>06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dirty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</a:defRPr>
            </a:lvl1pPr>
          </a:lstStyle>
          <a:p>
            <a:fld id="{800C3DF8-F81B-40DE-8E98-E80DC7A70379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  <p:sldLayoutId id="2147484627" r:id="rId13"/>
    <p:sldLayoutId id="2147484628" r:id="rId14"/>
    <p:sldLayoutId id="2147484629" r:id="rId15"/>
  </p:sldLayoutIdLst>
  <p:txStyles>
    <p:titleStyle>
      <a:lvl1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fontAlgn="base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52" imgH="353" progId="TCLayout.ActiveDocument.1">
                  <p:embed/>
                </p:oleObj>
              </mc:Choice>
              <mc:Fallback>
                <p:oleObj name="think-cell Folie" r:id="rId20" imgW="352" imgH="353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19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15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0" y="380752"/>
            <a:ext cx="12192000" cy="369887"/>
          </a:xfrm>
          <a:prstGeom prst="rect">
            <a:avLst/>
          </a:prstGeom>
          <a:solidFill>
            <a:srgbClr val="D9D9D9"/>
          </a:solidFill>
          <a:effectLst>
            <a:outerShdw blurRad="50800" dist="38100" dir="2700000" algn="tl" rotWithShape="0">
              <a:prstClr val="black">
                <a:alpha val="35000"/>
              </a:prstClr>
            </a:outerShdw>
          </a:effectLst>
        </p:spPr>
        <p:txBody>
          <a:bodyPr wrap="square">
            <a:spAutoFit/>
          </a:bodyPr>
          <a:lstStyle/>
          <a:p>
            <a:pPr eaLnBrk="1" hangingPunct="1">
              <a:defRPr/>
            </a:pPr>
            <a:endParaRPr lang="de-DE">
              <a:solidFill>
                <a:prstClr val="black"/>
              </a:solidFill>
              <a:cs typeface="Arial" charset="0"/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 rot="228397">
            <a:off x="10839291" y="-72686"/>
            <a:ext cx="868335" cy="1919817"/>
            <a:chOff x="4740" y="0"/>
            <a:chExt cx="224" cy="5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4"/>
            <p:cNvSpPr>
              <a:spLocks noChangeAspect="1" noChangeArrowheads="1" noTextEdit="1"/>
            </p:cNvSpPr>
            <p:nvPr/>
          </p:nvSpPr>
          <p:spPr bwMode="auto">
            <a:xfrm>
              <a:off x="4740" y="0"/>
              <a:ext cx="224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0" y="0"/>
              <a:ext cx="222" cy="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1584" y="407642"/>
            <a:ext cx="9194237" cy="3670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196755"/>
            <a:ext cx="10515600" cy="4980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4A1C28-CB7D-4C2D-B597-D6876358289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20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  <p:sldLayoutId id="2147484637" r:id="rId6"/>
    <p:sldLayoutId id="2147484638" r:id="rId7"/>
    <p:sldLayoutId id="2147484639" r:id="rId8"/>
    <p:sldLayoutId id="2147484640" r:id="rId9"/>
    <p:sldLayoutId id="2147484641" r:id="rId10"/>
    <p:sldLayoutId id="2147484642" r:id="rId11"/>
    <p:sldLayoutId id="2147484643" r:id="rId12"/>
    <p:sldLayoutId id="2147484644" r:id="rId13"/>
    <p:sldLayoutId id="2147484645" r:id="rId14"/>
    <p:sldLayoutId id="2147484646" r:id="rId15"/>
    <p:sldLayoutId id="2147484647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jpeg"/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12" Type="http://schemas.openxmlformats.org/officeDocument/2006/relationships/image" Target="../media/image26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Relationship Id="rId1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2174518" y="1116014"/>
            <a:ext cx="7664450" cy="5337175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algn="ctr">
              <a:spcBef>
                <a:spcPct val="20000"/>
              </a:spcBef>
              <a:defRPr/>
            </a:pPr>
            <a:r>
              <a:rPr lang="de-DE" sz="3600" b="1" dirty="0">
                <a:latin typeface="+mn-lt"/>
                <a:cs typeface="+mn-cs"/>
              </a:rPr>
              <a:t>Herzlich willkommen </a:t>
            </a:r>
            <a:endParaRPr lang="de-DE" dirty="0">
              <a:cs typeface="+mn-cs"/>
            </a:endParaRPr>
          </a:p>
          <a:p>
            <a:pPr algn="ctr">
              <a:spcBef>
                <a:spcPct val="20000"/>
              </a:spcBef>
              <a:defRPr/>
            </a:pPr>
            <a:r>
              <a:rPr lang="de-DE" sz="3600" b="1" dirty="0">
                <a:latin typeface="+mn-lt"/>
                <a:cs typeface="+mn-cs"/>
              </a:rPr>
              <a:t>zum</a:t>
            </a:r>
            <a:endParaRPr lang="de-DE" dirty="0">
              <a:cs typeface="+mn-cs"/>
            </a:endParaRPr>
          </a:p>
          <a:p>
            <a:pPr algn="ctr">
              <a:spcBef>
                <a:spcPct val="20000"/>
              </a:spcBef>
              <a:defRPr/>
            </a:pPr>
            <a:r>
              <a:rPr lang="de-DE" sz="3600" b="1" dirty="0">
                <a:latin typeface="+mn-lt"/>
                <a:cs typeface="+mn-cs"/>
              </a:rPr>
              <a:t>Landesliga-Lehrgang 2026</a:t>
            </a:r>
          </a:p>
          <a:p>
            <a:pPr algn="ctr">
              <a:lnSpc>
                <a:spcPct val="80000"/>
              </a:lnSpc>
              <a:spcBef>
                <a:spcPct val="60000"/>
              </a:spcBef>
              <a:spcAft>
                <a:spcPct val="100000"/>
              </a:spcAft>
              <a:defRPr/>
            </a:pPr>
            <a:r>
              <a:rPr lang="de-DE" altLang="de-DE" sz="3600" dirty="0">
                <a:latin typeface="Formata Regular"/>
                <a:cs typeface="Arial"/>
              </a:rPr>
              <a:t>10. – 12. Juli 2026</a:t>
            </a:r>
          </a:p>
        </p:txBody>
      </p:sp>
      <p:sp>
        <p:nvSpPr>
          <p:cNvPr id="10243" name="Fußzeilenplatzhalter 7"/>
          <p:cNvSpPr>
            <a:spLocks noGrp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de-DE" altLang="de-DE"/>
              <a:t>Seite 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202558-DA0B-B40A-440F-4171834C24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203" y="1172254"/>
            <a:ext cx="2049104" cy="282824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D2C9A81-7D5C-CDD7-90C7-97531CD3E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0950" y="3946601"/>
            <a:ext cx="1788033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5915CA6-C0D2-A05F-29F4-73EDB2891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4688" y="3946601"/>
            <a:ext cx="1821454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ED17B451-7559-5515-0F98-D35BADF2DCFB}"/>
              </a:ext>
            </a:extLst>
          </p:cNvPr>
          <p:cNvSpPr txBox="1"/>
          <p:nvPr/>
        </p:nvSpPr>
        <p:spPr>
          <a:xfrm>
            <a:off x="563977" y="370465"/>
            <a:ext cx="32053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Lehrpla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0A02CF1-8354-273E-32B3-0526746A2392}"/>
              </a:ext>
            </a:extLst>
          </p:cNvPr>
          <p:cNvSpPr txBox="1"/>
          <p:nvPr/>
        </p:nvSpPr>
        <p:spPr>
          <a:xfrm>
            <a:off x="563977" y="1150235"/>
            <a:ext cx="11628023" cy="56938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 rtl="0" fontAlgn="base"/>
            <a:r>
              <a:rPr lang="de-DE" sz="2400" b="1" u="sng" dirty="0">
                <a:solidFill>
                  <a:srgbClr val="000000"/>
                </a:solidFill>
                <a:latin typeface="Arial"/>
                <a:cs typeface="Arial"/>
              </a:rPr>
              <a:t>Samstag, 11.07.2026</a:t>
            </a:r>
            <a:r>
              <a:rPr lang="de-DE" sz="2400" dirty="0">
                <a:solidFill>
                  <a:srgbClr val="000000"/>
                </a:solidFill>
                <a:latin typeface="Arial"/>
                <a:cs typeface="Arial"/>
              </a:rPr>
              <a:t>      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​</a:t>
            </a:r>
          </a:p>
          <a:p>
            <a:pPr algn="l" rtl="0" fontAlgn="base"/>
            <a:endParaRPr lang="en-US" sz="2400" dirty="0">
              <a:solidFill>
                <a:srgbClr val="000000"/>
              </a:solidFill>
              <a:latin typeface="Arial"/>
              <a:cs typeface="Arial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3.30 Uhr	Aktuelles aus dem SR-Wesen		Keller </a:t>
            </a:r>
            <a:r>
              <a:rPr lang="de-D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    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 ​</a:t>
            </a: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4:30 Uhr	Spielertypen und Persönlichkeiten I	Kaack </a:t>
            </a: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5.15 Uhr 	Kaffee​pause</a:t>
            </a:r>
          </a:p>
          <a:p>
            <a:endParaRPr lang="de-DE" sz="2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de-DE" sz="2400" dirty="0">
                <a:latin typeface="Arial"/>
                <a:cs typeface="Arial"/>
              </a:rPr>
              <a:t>15.45 Uhr 	Spielertypen und Persönlichkeiten II</a:t>
            </a:r>
            <a:r>
              <a:rPr lang="de-DE" sz="2400" b="1" dirty="0">
                <a:latin typeface="Arial"/>
                <a:cs typeface="Arial"/>
              </a:rPr>
              <a:t> </a:t>
            </a:r>
            <a:r>
              <a:rPr lang="de-DE" sz="2400" b="1" dirty="0">
                <a:solidFill>
                  <a:srgbClr val="FF0000"/>
                </a:solidFill>
                <a:latin typeface="Arial"/>
                <a:cs typeface="Arial"/>
              </a:rPr>
              <a:t> 	</a:t>
            </a:r>
            <a:r>
              <a:rPr lang="de-DE" sz="2400" dirty="0">
                <a:latin typeface="Arial"/>
                <a:cs typeface="Arial"/>
              </a:rPr>
              <a:t>Kaack</a:t>
            </a:r>
            <a:endParaRPr lang="de-DE" sz="2400" dirty="0"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 ​</a:t>
            </a:r>
          </a:p>
          <a:p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7:00 Uhr	Gesprächsrunde der LL-Aufsteiger	Keller</a:t>
            </a:r>
          </a:p>
          <a:p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		</a:t>
            </a: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8.00 Uhr 	Abendessen​</a:t>
            </a: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2644761987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2329290" y="1080688"/>
            <a:ext cx="6319837" cy="3725862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algn="ctr">
              <a:spcBef>
                <a:spcPct val="20000"/>
              </a:spcBef>
              <a:defRPr/>
            </a:pPr>
            <a:r>
              <a:rPr lang="de-DE" sz="2700" b="1" dirty="0">
                <a:latin typeface="+mn-lt"/>
                <a:cs typeface="+mn-cs"/>
              </a:rPr>
              <a:t>Guten Morgen, lieber Sonntag</a:t>
            </a:r>
            <a:endParaRPr lang="de-DE" dirty="0"/>
          </a:p>
          <a:p>
            <a:pPr algn="ctr">
              <a:spcBef>
                <a:spcPct val="20000"/>
              </a:spcBef>
              <a:defRPr/>
            </a:pPr>
            <a:r>
              <a:rPr lang="de-DE" altLang="de-DE" sz="2700" dirty="0">
                <a:latin typeface="+mn-lt"/>
                <a:cs typeface="Arial"/>
              </a:rPr>
              <a:t>   12.07.2026</a:t>
            </a:r>
            <a:r>
              <a:rPr lang="de-DE" altLang="de-DE" sz="2700" dirty="0">
                <a:latin typeface="Formata Regular"/>
                <a:cs typeface="Arial"/>
              </a:rPr>
              <a:t>  </a:t>
            </a:r>
            <a:endParaRPr lang="de-DE" dirty="0"/>
          </a:p>
          <a:p>
            <a:pPr algn="ctr">
              <a:spcBef>
                <a:spcPct val="20000"/>
              </a:spcBef>
              <a:defRPr/>
            </a:pPr>
            <a:r>
              <a:rPr lang="de-DE" altLang="de-DE" sz="2700" dirty="0">
                <a:latin typeface="Formata Regular"/>
                <a:cs typeface="Arial"/>
              </a:rPr>
              <a:t>                 Beginn 9.00 Uhr                </a:t>
            </a:r>
            <a:endParaRPr lang="de-DE" dirty="0"/>
          </a:p>
        </p:txBody>
      </p:sp>
      <p:pic>
        <p:nvPicPr>
          <p:cNvPr id="24579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9953" y="2946927"/>
            <a:ext cx="7535842" cy="371924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D230ABCD-0D16-B373-E9C0-71D892996F37}"/>
              </a:ext>
            </a:extLst>
          </p:cNvPr>
          <p:cNvSpPr txBox="1"/>
          <p:nvPr/>
        </p:nvSpPr>
        <p:spPr>
          <a:xfrm>
            <a:off x="469329" y="1226127"/>
            <a:ext cx="10002728" cy="489364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 rtl="0" fontAlgn="base"/>
            <a:r>
              <a:rPr lang="de-DE" sz="2400" b="1" u="sng" dirty="0">
                <a:solidFill>
                  <a:srgbClr val="000000"/>
                </a:solidFill>
                <a:latin typeface="Arial"/>
                <a:cs typeface="Arial"/>
              </a:rPr>
              <a:t>S</a:t>
            </a:r>
            <a:r>
              <a:rPr lang="de-DE" sz="2400" b="1" i="0" u="sng" dirty="0">
                <a:solidFill>
                  <a:srgbClr val="000000"/>
                </a:solidFill>
                <a:effectLst/>
                <a:latin typeface="Arial"/>
                <a:cs typeface="Arial"/>
              </a:rPr>
              <a:t>onntag, 12.</a:t>
            </a:r>
            <a:r>
              <a:rPr lang="de-DE" sz="2400" b="1" u="sng" dirty="0">
                <a:solidFill>
                  <a:srgbClr val="000000"/>
                </a:solidFill>
                <a:latin typeface="Arial"/>
                <a:cs typeface="Arial"/>
              </a:rPr>
              <a:t>07.2026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09.00 Uhr 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Referat: Das moderne Stellungsspiel</a:t>
            </a:r>
            <a:r>
              <a:rPr lang="de-DE" sz="2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	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Kaack</a:t>
            </a:r>
            <a:endParaRPr lang="en-US" sz="240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09.30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Uhr	Ausschecken + Kassensturz 	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	</a:t>
            </a:r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09.45 Uhr	Schiedsrichter unter sich…		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Barth / Grauf</a:t>
            </a:r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0.15 Uhr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Balance vs. Konzession	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		Keller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l" rtl="0" fontAlgn="base"/>
            <a:endParaRPr lang="de-DE" sz="2400" b="0" i="0" u="none" strike="noStrike" dirty="0"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u="none" strike="noStrike" dirty="0">
                <a:effectLst/>
                <a:latin typeface="Arial" panose="020B0604020202020204" pitchFamily="34" charset="0"/>
              </a:rPr>
              <a:t>11.30 Uhr 	Feedback und Anregungen </a:t>
            </a:r>
            <a:r>
              <a:rPr lang="de-DE" sz="2400" b="0" i="0" dirty="0">
                <a:effectLst/>
                <a:latin typeface="Arial" panose="020B0604020202020204" pitchFamily="34" charset="0"/>
              </a:rPr>
              <a:t>​			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2.00 Uhr 	Mittagessen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 + 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nschließende Heimreise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DBB01C2-65C1-5162-FFD7-437FD6AA5EC9}"/>
              </a:ext>
            </a:extLst>
          </p:cNvPr>
          <p:cNvSpPr txBox="1"/>
          <p:nvPr/>
        </p:nvSpPr>
        <p:spPr>
          <a:xfrm>
            <a:off x="469329" y="392237"/>
            <a:ext cx="32053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latin typeface="+mj-lt"/>
              </a:rPr>
              <a:t>Lehrplan</a:t>
            </a:r>
          </a:p>
        </p:txBody>
      </p:sp>
      <p:sp>
        <p:nvSpPr>
          <p:cNvPr id="2" name="AutoShape 2" descr="Bildergebnis für geld">
            <a:extLst>
              <a:ext uri="{FF2B5EF4-FFF2-40B4-BE49-F238E27FC236}">
                <a16:creationId xmlns:a16="http://schemas.microsoft.com/office/drawing/2014/main" id="{5E17BFAE-61EE-D7D5-2674-F65E06DF01A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4484845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Stadion voller Menschen">
            <a:extLst>
              <a:ext uri="{FF2B5EF4-FFF2-40B4-BE49-F238E27FC236}">
                <a16:creationId xmlns:a16="http://schemas.microsoft.com/office/drawing/2014/main" id="{AD544696-277B-8DBB-0F26-7DFA85A431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7979"/>
            <a:ext cx="12191999" cy="6915979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A8AEE63-1D87-6684-97BF-0171E7167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-57979"/>
            <a:ext cx="10515600" cy="2852737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  <a:ea typeface="Calibri Light"/>
                <a:cs typeface="Calibri Light"/>
              </a:rPr>
              <a:t>Feedback / offene Fragen</a:t>
            </a:r>
            <a:br>
              <a:rPr lang="de-DE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  <a:ea typeface="Calibri Light"/>
                <a:cs typeface="Calibri Light"/>
              </a:rPr>
            </a:br>
            <a:r>
              <a:rPr lang="de-DE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/>
                <a:ea typeface="Calibri Light"/>
                <a:cs typeface="Calibri Light"/>
              </a:rPr>
              <a:t>Abschluss</a:t>
            </a:r>
            <a:endParaRPr lang="de-DE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064C4E5-767B-6AB6-D854-C7016E291479}"/>
              </a:ext>
            </a:extLst>
          </p:cNvPr>
          <p:cNvGrpSpPr/>
          <p:nvPr/>
        </p:nvGrpSpPr>
        <p:grpSpPr>
          <a:xfrm>
            <a:off x="9156192" y="523478"/>
            <a:ext cx="2748489" cy="2715169"/>
            <a:chOff x="9245085" y="523478"/>
            <a:chExt cx="2659596" cy="2715169"/>
          </a:xfrm>
        </p:grpSpPr>
        <p:pic>
          <p:nvPicPr>
            <p:cNvPr id="6" name="Grafik 5" descr="Ein Bild, das Kleidung, Person, Menschliches Gesicht, Ärmel enthält.&#10;&#10;Automatisch generierte Beschreibung">
              <a:extLst>
                <a:ext uri="{FF2B5EF4-FFF2-40B4-BE49-F238E27FC236}">
                  <a16:creationId xmlns:a16="http://schemas.microsoft.com/office/drawing/2014/main" id="{8D486A6E-8A2F-A6F3-1194-22D6FE462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571"/>
            <a:stretch/>
          </p:blipFill>
          <p:spPr>
            <a:xfrm>
              <a:off x="9263972" y="1442048"/>
              <a:ext cx="649581" cy="8820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  <a:softEdge rad="50800"/>
            </a:effectLst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A3B8BF54-DADD-013B-3FBB-2B944733A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5085" y="532876"/>
              <a:ext cx="649581" cy="882000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2A4E001E-6B0C-DC10-1977-8830B48E4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2653" y="2336666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C3D09F5-4B19-3A73-5F10-39F422CD58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08053" y="523478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0ADDF4B1-DAED-4DC4-365E-B0A797B18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6357" y="527449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0DA5A01-55E4-A06A-362F-CD8D86121D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24585" y="2312469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62B053F-5380-9C8A-DAB0-A863F1831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9400" y="2358368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4FAB28C-AB37-4D92-126E-BF789A192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56367" y="532876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C04FFB36-6D76-682D-D39B-7F33824A2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3553" y="1456388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476A4678-1BF3-DE36-65B4-8BA868FEAE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8979" y="1500567"/>
              <a:ext cx="545751" cy="764962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62A5EE8F-999F-3610-075D-28118FEC1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7218" y="1456387"/>
              <a:ext cx="648314" cy="880279"/>
            </a:xfrm>
            <a:prstGeom prst="rect">
              <a:avLst/>
            </a:prstGeom>
            <a:effectLst>
              <a:softEdge rad="50800"/>
            </a:effectLst>
          </p:spPr>
        </p:pic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34944FB-AE1A-0A1D-89EA-648926740D6C}"/>
              </a:ext>
            </a:extLst>
          </p:cNvPr>
          <p:cNvSpPr txBox="1"/>
          <p:nvPr/>
        </p:nvSpPr>
        <p:spPr>
          <a:xfrm>
            <a:off x="763258" y="4926346"/>
            <a:ext cx="10852497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Jetzt </a:t>
            </a:r>
            <a:r>
              <a:rPr lang="de-DE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irekt ausfüllen </a:t>
            </a:r>
            <a:r>
              <a:rPr lang="de-DE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– Euer Feedback ist uns wichtig</a:t>
            </a:r>
            <a:r>
              <a:rPr lang="de-DE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  <a:endParaRPr lang="de-DE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64262-FDBD-B240-4111-D5900F8147D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27407" y="2336666"/>
            <a:ext cx="2116038" cy="210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8722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2063750" y="1268413"/>
            <a:ext cx="7664450" cy="5014912"/>
          </a:xfrm>
          <a:prstGeom prst="rect">
            <a:avLst/>
          </a:prstGeom>
        </p:spPr>
        <p:txBody>
          <a:bodyPr/>
          <a:lstStyle/>
          <a:p>
            <a:pPr algn="ctr">
              <a:lnSpc>
                <a:spcPct val="15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endParaRPr lang="de-DE" sz="3200" b="1">
              <a:latin typeface="+mn-lt"/>
              <a:cs typeface="+mn-cs"/>
            </a:endParaRPr>
          </a:p>
        </p:txBody>
      </p:sp>
      <p:sp>
        <p:nvSpPr>
          <p:cNvPr id="77828" name="Fußzeilenplatzhalter 7"/>
          <p:cNvSpPr>
            <a:spLocks noGrp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de-DE" altLang="de-DE"/>
              <a:t>Seite</a:t>
            </a:r>
          </a:p>
        </p:txBody>
      </p:sp>
      <p:sp>
        <p:nvSpPr>
          <p:cNvPr id="77829" name="AutoShape 2" descr="Bildergebnis für Vielen Dank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endParaRPr lang="de-DE" altLang="de-DE"/>
          </a:p>
        </p:txBody>
      </p:sp>
      <p:sp>
        <p:nvSpPr>
          <p:cNvPr id="77830" name="AutoShape 4" descr="Bildergebnis für Vielen Dank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endParaRPr lang="de-DE" altLang="de-DE"/>
          </a:p>
        </p:txBody>
      </p:sp>
      <p:sp>
        <p:nvSpPr>
          <p:cNvPr id="77832" name="Rectangle 3"/>
          <p:cNvSpPr txBox="1">
            <a:spLocks noChangeArrowheads="1"/>
          </p:cNvSpPr>
          <p:nvPr/>
        </p:nvSpPr>
        <p:spPr bwMode="auto">
          <a:xfrm>
            <a:off x="703880" y="1211110"/>
            <a:ext cx="829310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 marL="342900" indent="-3429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e-DE" altLang="de-DE" sz="2800" dirty="0">
                <a:latin typeface="Verdana"/>
                <a:ea typeface="Verdana"/>
                <a:cs typeface="Arial"/>
              </a:rPr>
              <a:t>Danke für Euren Einsatz</a:t>
            </a:r>
          </a:p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e-DE" altLang="de-DE" sz="2800" dirty="0">
                <a:latin typeface="Verdana"/>
                <a:ea typeface="Verdana"/>
                <a:cs typeface="Arial"/>
              </a:rPr>
              <a:t>Danke für die Mitarbeit</a:t>
            </a:r>
          </a:p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e-DE" altLang="de-DE" sz="2800" dirty="0">
                <a:latin typeface="Verdana"/>
                <a:ea typeface="Verdana"/>
                <a:cs typeface="Arial"/>
              </a:rPr>
              <a:t>Bleibt gesund und viel Erfolg 2026/27</a:t>
            </a:r>
          </a:p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e-DE" altLang="de-DE" sz="2800" dirty="0">
                <a:latin typeface="Verdana"/>
                <a:ea typeface="Verdana"/>
                <a:cs typeface="Arial"/>
              </a:rPr>
              <a:t>Guten Appetit</a:t>
            </a:r>
          </a:p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e-DE" altLang="de-DE" sz="2800" dirty="0">
                <a:latin typeface="Verdana"/>
                <a:ea typeface="Verdana"/>
                <a:cs typeface="Arial"/>
              </a:rPr>
              <a:t>Gute Heimrei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B13C3E0-9959-1231-3966-65E04E699BD5}"/>
              </a:ext>
            </a:extLst>
          </p:cNvPr>
          <p:cNvSpPr txBox="1"/>
          <p:nvPr/>
        </p:nvSpPr>
        <p:spPr>
          <a:xfrm>
            <a:off x="576943" y="363797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b="1" dirty="0"/>
              <a:t>Verabschiedu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BFD5676-3D58-E4AE-FCEC-2BA61EB0F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0950" y="3946601"/>
            <a:ext cx="1788033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90DA468-13D7-809C-A9F3-65B06FD83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4688" y="3946601"/>
            <a:ext cx="1821454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550115" y="171451"/>
            <a:ext cx="8208963" cy="5543550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3600" b="1" dirty="0">
                <a:latin typeface="+mn-lt"/>
                <a:cs typeface="+mn-cs"/>
              </a:rPr>
              <a:t>Organisatorisches</a:t>
            </a:r>
            <a:endParaRPr lang="de-DE" sz="3600" dirty="0">
              <a:latin typeface="+mn-lt"/>
              <a:cs typeface="+mn-cs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3600" dirty="0">
                <a:latin typeface="+mn-lt"/>
                <a:cs typeface="+mn-cs"/>
              </a:rPr>
              <a:t>Teilnehmer / Anwesenheit</a:t>
            </a: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3600" dirty="0">
                <a:latin typeface="+mn-lt"/>
                <a:cs typeface="+mn-cs"/>
              </a:rPr>
              <a:t>Abfrage Leistungsprüfung  </a:t>
            </a: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3600" dirty="0">
                <a:latin typeface="+mn-lt"/>
                <a:cs typeface="+mn-cs"/>
              </a:rPr>
              <a:t>Lehrplan</a:t>
            </a:r>
          </a:p>
        </p:txBody>
      </p:sp>
      <p:pic>
        <p:nvPicPr>
          <p:cNvPr id="3" name="Grafik 2" descr="Ein Bild, das Entwurf, Zeichnung, Clipart, Lineart enthält.&#10;&#10;KI-generierte Inhalte können fehlerhaft sein.">
            <a:extLst>
              <a:ext uri="{FF2B5EF4-FFF2-40B4-BE49-F238E27FC236}">
                <a16:creationId xmlns:a16="http://schemas.microsoft.com/office/drawing/2014/main" id="{77065CD4-32B3-5EFB-1F6D-A205591FF0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011" y="3930040"/>
            <a:ext cx="5294873" cy="292796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6FD3158D-2928-3EA7-CD1C-787D31E7278C}"/>
                  </a:ext>
                </a:extLst>
              </p14:cNvPr>
              <p14:cNvContentPartPr/>
              <p14:nvPr/>
            </p14:nvContentPartPr>
            <p14:xfrm>
              <a:off x="9573882" y="3078741"/>
              <a:ext cx="360" cy="360"/>
            </p14:xfrm>
          </p:contentPart>
        </mc:Choice>
        <mc:Fallback xmlns=""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6FD3158D-2928-3EA7-CD1C-787D31E7278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564882" y="3070101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791B922C-50F6-8EB2-6B10-25EAC9535561}"/>
              </a:ext>
            </a:extLst>
          </p:cNvPr>
          <p:cNvSpPr txBox="1"/>
          <p:nvPr/>
        </p:nvSpPr>
        <p:spPr>
          <a:xfrm>
            <a:off x="466007" y="1374591"/>
            <a:ext cx="10550336" cy="49859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 rtl="0" fontAlgn="base"/>
            <a:r>
              <a:rPr lang="de-DE" sz="2400" b="1" i="0" u="sng" dirty="0">
                <a:solidFill>
                  <a:srgbClr val="000000"/>
                </a:solidFill>
                <a:effectLst/>
                <a:latin typeface="Arial"/>
                <a:cs typeface="Arial"/>
              </a:rPr>
              <a:t>Freitag, </a:t>
            </a:r>
            <a:r>
              <a:rPr lang="de-DE" sz="2400" b="1" u="sng" dirty="0">
                <a:solidFill>
                  <a:srgbClr val="000000"/>
                </a:solidFill>
                <a:latin typeface="Arial"/>
                <a:cs typeface="Arial"/>
              </a:rPr>
              <a:t>10.07.2026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algn="l" rtl="0" fontAlgn="base"/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​</a:t>
            </a:r>
          </a:p>
          <a:p>
            <a:pPr>
              <a:lnSpc>
                <a:spcPct val="150000"/>
              </a:lnSpc>
            </a:pP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8.45 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Uhr  	Eröffnung 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s Lehrganges 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Keller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    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		 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19.00 Uhr 	Regelprüfung           		Kaack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9.3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0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Uhr 	Konformitätstest</a:t>
            </a:r>
            <a:r>
              <a:rPr lang="de-DE" sz="2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		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Kaack</a:t>
            </a:r>
            <a:endParaRPr lang="de-DE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de-DE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0.00 Uhr	Einteilung Leistungsprüfung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Keller</a:t>
            </a:r>
            <a:endParaRPr lang="de-DE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0.15 Uhr 	</a:t>
            </a:r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Regeländerungen 26 / 27		Kaack</a:t>
            </a: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fontAlgn="base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2954C29-4311-AC2F-53A4-0107330944E5}"/>
              </a:ext>
            </a:extLst>
          </p:cNvPr>
          <p:cNvSpPr txBox="1"/>
          <p:nvPr/>
        </p:nvSpPr>
        <p:spPr>
          <a:xfrm>
            <a:off x="553092" y="381351"/>
            <a:ext cx="32053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Lehrplan</a:t>
            </a:r>
          </a:p>
        </p:txBody>
      </p:sp>
      <p:pic>
        <p:nvPicPr>
          <p:cNvPr id="4" name="Grafik 3" descr="Ein Bild, das drinnen, weiß enthält.&#10;&#10;Automatisch generierte Beschreibung">
            <a:extLst>
              <a:ext uri="{FF2B5EF4-FFF2-40B4-BE49-F238E27FC236}">
                <a16:creationId xmlns:a16="http://schemas.microsoft.com/office/drawing/2014/main" id="{8D6177CA-D65F-6DC5-0F35-56F5D02AA5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49"/>
          <a:stretch/>
        </p:blipFill>
        <p:spPr>
          <a:xfrm>
            <a:off x="9741480" y="4141923"/>
            <a:ext cx="2071636" cy="2350114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1675619" y="1089273"/>
            <a:ext cx="8208963" cy="5543550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19.00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Regeltest</a:t>
            </a:r>
          </a:p>
          <a:p>
            <a:pPr algn="ctr">
              <a:spcBef>
                <a:spcPts val="0"/>
              </a:spcBef>
              <a:defRPr/>
            </a:pP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r>
              <a:rPr lang="de-DE" sz="3000" b="1" dirty="0">
                <a:latin typeface="Arial" panose="020B0604020202020204" pitchFamily="34" charset="0"/>
              </a:rPr>
              <a:t>19.30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Konformitätstest</a:t>
            </a:r>
          </a:p>
          <a:p>
            <a:pPr algn="ctr">
              <a:spcBef>
                <a:spcPts val="0"/>
              </a:spcBef>
              <a:defRPr/>
            </a:pP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r>
              <a:rPr lang="de-DE" sz="3000" b="1" dirty="0">
                <a:latin typeface="Arial" panose="020B0604020202020204" pitchFamily="34" charset="0"/>
              </a:rPr>
              <a:t>20.15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Regeländerungen 2026 / 2027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endParaRPr lang="de-DE" sz="3600" b="1" dirty="0">
              <a:solidFill>
                <a:srgbClr val="FF0000"/>
              </a:solidFill>
              <a:latin typeface="+mn-lt"/>
              <a:cs typeface="+mn-cs"/>
            </a:endParaRP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5200" b="1" dirty="0">
                <a:solidFill>
                  <a:srgbClr val="FF0000"/>
                </a:solidFill>
                <a:latin typeface="+mn-lt"/>
                <a:cs typeface="+mn-cs"/>
              </a:rPr>
              <a:t> 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endParaRPr lang="de-DE" sz="4800" b="1" dirty="0">
              <a:latin typeface="+mn-lt"/>
              <a:cs typeface="+mn-cs"/>
            </a:endParaRPr>
          </a:p>
        </p:txBody>
      </p:sp>
      <p:cxnSp>
        <p:nvCxnSpPr>
          <p:cNvPr id="3" name="Gerader Verbinder 2"/>
          <p:cNvCxnSpPr>
            <a:cxnSpLocks/>
          </p:cNvCxnSpPr>
          <p:nvPr/>
        </p:nvCxnSpPr>
        <p:spPr>
          <a:xfrm>
            <a:off x="1703513" y="2780928"/>
            <a:ext cx="8208963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6" name="Textfeld 1"/>
          <p:cNvSpPr txBox="1">
            <a:spLocks noChangeArrowheads="1"/>
          </p:cNvSpPr>
          <p:nvPr/>
        </p:nvSpPr>
        <p:spPr bwMode="auto">
          <a:xfrm>
            <a:off x="7479944" y="2167730"/>
            <a:ext cx="1439862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ormata Regular" pitchFamily="34" charset="0"/>
                <a:cs typeface="Arial" panose="020B0604020202020204" pitchFamily="34" charset="0"/>
              </a:defRPr>
            </a:lvl9pPr>
          </a:lstStyle>
          <a:p>
            <a:r>
              <a:rPr lang="de-DE" altLang="de-DE" sz="3000" b="1" dirty="0">
                <a:solidFill>
                  <a:srgbClr val="FF0000"/>
                </a:solidFill>
                <a:latin typeface="Freestyle Script" panose="030804020302050B0404" pitchFamily="66" charset="0"/>
              </a:rPr>
              <a:t>Viel Erfolg!</a:t>
            </a:r>
          </a:p>
        </p:txBody>
      </p:sp>
      <p:pic>
        <p:nvPicPr>
          <p:cNvPr id="18438" name="Grafik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25" y="4941889"/>
            <a:ext cx="8255000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1407" y="4256943"/>
            <a:ext cx="1731414" cy="81693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B4379FB-B43F-D21A-3CB8-7E3ED867BA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964" y="1215749"/>
            <a:ext cx="1821454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95A4C-EEF0-01DD-2256-74CC07BB4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E89DE98-CD68-383A-9F19-260831274595}"/>
              </a:ext>
            </a:extLst>
          </p:cNvPr>
          <p:cNvSpPr txBox="1">
            <a:spLocks/>
          </p:cNvSpPr>
          <p:nvPr/>
        </p:nvSpPr>
        <p:spPr>
          <a:xfrm>
            <a:off x="1675619" y="1089273"/>
            <a:ext cx="8208963" cy="5543550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19.00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Regeltest</a:t>
            </a:r>
          </a:p>
          <a:p>
            <a:pPr algn="ctr">
              <a:spcBef>
                <a:spcPts val="0"/>
              </a:spcBef>
              <a:defRPr/>
            </a:pP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r>
              <a:rPr lang="de-DE" sz="3000" b="1" dirty="0">
                <a:latin typeface="Arial" panose="020B0604020202020204" pitchFamily="34" charset="0"/>
              </a:rPr>
              <a:t>19.30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Konformitätstest</a:t>
            </a:r>
          </a:p>
          <a:p>
            <a:pPr algn="ctr">
              <a:spcBef>
                <a:spcPts val="0"/>
              </a:spcBef>
              <a:defRPr/>
            </a:pPr>
            <a:br>
              <a:rPr lang="de-DE" sz="3000" b="1" dirty="0">
                <a:latin typeface="Arial" panose="020B0604020202020204" pitchFamily="34" charset="0"/>
              </a:rPr>
            </a:br>
            <a:br>
              <a:rPr lang="de-DE" sz="3000" b="1" dirty="0">
                <a:latin typeface="Arial" panose="020B0604020202020204" pitchFamily="34" charset="0"/>
              </a:rPr>
            </a:br>
            <a:r>
              <a:rPr lang="de-DE" sz="3000" b="1" dirty="0">
                <a:latin typeface="Arial" panose="020B0604020202020204" pitchFamily="34" charset="0"/>
              </a:rPr>
              <a:t>20.15 Uhr</a:t>
            </a:r>
          </a:p>
          <a:p>
            <a:pPr algn="ctr">
              <a:spcBef>
                <a:spcPts val="0"/>
              </a:spcBef>
              <a:defRPr/>
            </a:pPr>
            <a:r>
              <a:rPr lang="de-DE" sz="3000" b="1" dirty="0">
                <a:latin typeface="Arial" panose="020B0604020202020204" pitchFamily="34" charset="0"/>
              </a:rPr>
              <a:t>Regeländerungen 2026 / 2027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endParaRPr lang="de-DE" sz="3600" b="1" dirty="0">
              <a:solidFill>
                <a:srgbClr val="FF0000"/>
              </a:solidFill>
              <a:latin typeface="+mn-lt"/>
              <a:cs typeface="+mn-cs"/>
            </a:endParaRP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5200" b="1" dirty="0">
                <a:solidFill>
                  <a:srgbClr val="FF0000"/>
                </a:solidFill>
                <a:latin typeface="+mn-lt"/>
                <a:cs typeface="+mn-cs"/>
              </a:rPr>
              <a:t> 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  <a:defRPr/>
            </a:pPr>
            <a:endParaRPr lang="de-DE" sz="4800" b="1" dirty="0">
              <a:latin typeface="+mn-lt"/>
              <a:cs typeface="+mn-cs"/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DFC98B5-A3DA-84F8-87E1-C2E4B93BB535}"/>
              </a:ext>
            </a:extLst>
          </p:cNvPr>
          <p:cNvCxnSpPr>
            <a:cxnSpLocks/>
          </p:cNvCxnSpPr>
          <p:nvPr/>
        </p:nvCxnSpPr>
        <p:spPr>
          <a:xfrm>
            <a:off x="1703513" y="2780928"/>
            <a:ext cx="8208963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8" name="Grafik 3">
            <a:extLst>
              <a:ext uri="{FF2B5EF4-FFF2-40B4-BE49-F238E27FC236}">
                <a16:creationId xmlns:a16="http://schemas.microsoft.com/office/drawing/2014/main" id="{FDB2543C-67AE-B6B0-96B3-C69146CCB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25" y="4941889"/>
            <a:ext cx="8255000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Ein Bild, das Grafiken, Clipart, Design enthält.&#10;&#10;KI-generierte Inhalte können fehlerhaft sein.">
            <a:extLst>
              <a:ext uri="{FF2B5EF4-FFF2-40B4-BE49-F238E27FC236}">
                <a16:creationId xmlns:a16="http://schemas.microsoft.com/office/drawing/2014/main" id="{7ACF5A62-4292-5FE3-8328-65C0421ACE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704" y="1161493"/>
            <a:ext cx="1573307" cy="1480759"/>
          </a:xfrm>
          <a:prstGeom prst="rect">
            <a:avLst/>
          </a:prstGeom>
        </p:spPr>
      </p:pic>
      <p:pic>
        <p:nvPicPr>
          <p:cNvPr id="8" name="Grafik 7" descr="Ein Bild, das Grafiken, Clipart, Design enthält.&#10;&#10;KI-generierte Inhalte können fehlerhaft sein.">
            <a:extLst>
              <a:ext uri="{FF2B5EF4-FFF2-40B4-BE49-F238E27FC236}">
                <a16:creationId xmlns:a16="http://schemas.microsoft.com/office/drawing/2014/main" id="{23795E43-0BF0-DE7A-B7F7-B4DCDD4B0E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704" y="3328742"/>
            <a:ext cx="1573307" cy="148075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DF240DBC-55A9-04AE-C2EE-9E32A8A71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964" y="1161493"/>
            <a:ext cx="1821454" cy="25065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308716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EDBB01C2-65C1-5162-FFD7-437FD6AA5EC9}"/>
              </a:ext>
            </a:extLst>
          </p:cNvPr>
          <p:cNvSpPr txBox="1"/>
          <p:nvPr/>
        </p:nvSpPr>
        <p:spPr>
          <a:xfrm>
            <a:off x="469328" y="392237"/>
            <a:ext cx="64539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latin typeface="+mj-lt"/>
              </a:rPr>
              <a:t>Hinweise zur Leistungsprüf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6A61624-D68D-F488-1108-C981D0B66020}"/>
              </a:ext>
            </a:extLst>
          </p:cNvPr>
          <p:cNvSpPr txBox="1"/>
          <p:nvPr/>
        </p:nvSpPr>
        <p:spPr>
          <a:xfrm>
            <a:off x="417389" y="1378454"/>
            <a:ext cx="108390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/>
              <a:t>Aus dem SR-Rundschreiben vom 26.01.2023…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6B20BFD-CEA6-05A5-B45C-55C6A7B6F8AA}"/>
              </a:ext>
            </a:extLst>
          </p:cNvPr>
          <p:cNvSpPr txBox="1"/>
          <p:nvPr/>
        </p:nvSpPr>
        <p:spPr>
          <a:xfrm>
            <a:off x="417389" y="2103151"/>
            <a:ext cx="10048240" cy="1233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de-DE" sz="1800" b="1" u="sng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U:</a:t>
            </a: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eim Vorliegen einer Verletzung ist eine </a:t>
            </a:r>
            <a:r>
              <a:rPr lang="de-DE" sz="2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hrgangsteilnahme</a:t>
            </a:r>
            <a:r>
              <a:rPr lang="de-DE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nnoch und </a:t>
            </a:r>
            <a:r>
              <a:rPr lang="de-DE" sz="2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hne Absolvierung der Leistungsprüfung </a:t>
            </a: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öglich. Dies wird nicht als Fehlversuch gewertet</a:t>
            </a:r>
            <a:r>
              <a:rPr lang="de-DE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[…] </a:t>
            </a:r>
            <a:endParaRPr lang="de-DE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5BFD150-6885-7906-A71A-F9E648706057}"/>
              </a:ext>
            </a:extLst>
          </p:cNvPr>
          <p:cNvSpPr txBox="1"/>
          <p:nvPr/>
        </p:nvSpPr>
        <p:spPr>
          <a:xfrm>
            <a:off x="417389" y="3801282"/>
            <a:ext cx="10129520" cy="19411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de-DE" sz="1800" b="1" u="sng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U:</a:t>
            </a: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ls Nachholtermine für die LP werden zukünftig nur noch </a:t>
            </a:r>
            <a:r>
              <a:rPr lang="de-DE" sz="2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wei zentrale Termine im September und November</a:t>
            </a:r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geboten. Der September-Termin ist dabei vom Bezirksligalehrgang entkoppelt, um diesen nicht zu überfrachten. Eine Leistungsprüfung nach diesen beiden Terminen ist nur nach einem begründeten Ausnahmeantrag (z.B. Vorliegen eines Attestes) möglich.</a:t>
            </a:r>
          </a:p>
        </p:txBody>
      </p:sp>
    </p:spTree>
    <p:extLst>
      <p:ext uri="{BB962C8B-B14F-4D97-AF65-F5344CB8AC3E}">
        <p14:creationId xmlns:p14="http://schemas.microsoft.com/office/powerpoint/2010/main" val="71073166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243A3FD2-DD49-B01F-02B3-A7BBF384AB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46" y="1401252"/>
            <a:ext cx="4195067" cy="31463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1B2A492-6A05-6EE7-B9C4-BA81AB7B9A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113" y="2590800"/>
            <a:ext cx="2069648" cy="206964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D0A8F66-DFEE-DE1D-6A64-759FD700C379}"/>
              </a:ext>
            </a:extLst>
          </p:cNvPr>
          <p:cNvSpPr txBox="1"/>
          <p:nvPr/>
        </p:nvSpPr>
        <p:spPr>
          <a:xfrm>
            <a:off x="563978" y="395064"/>
            <a:ext cx="62697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Hinweise zur Leistungsprüfung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ACC02374-0214-D579-2CA6-64EEFEE3E0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901209"/>
              </p:ext>
            </p:extLst>
          </p:nvPr>
        </p:nvGraphicFramePr>
        <p:xfrm>
          <a:off x="747046" y="4904002"/>
          <a:ext cx="10170567" cy="1305615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2354094">
                  <a:extLst>
                    <a:ext uri="{9D8B030D-6E8A-4147-A177-3AD203B41FA5}">
                      <a16:colId xmlns:a16="http://schemas.microsoft.com/office/drawing/2014/main" val="3940513549"/>
                    </a:ext>
                  </a:extLst>
                </a:gridCol>
                <a:gridCol w="1676931">
                  <a:extLst>
                    <a:ext uri="{9D8B030D-6E8A-4147-A177-3AD203B41FA5}">
                      <a16:colId xmlns:a16="http://schemas.microsoft.com/office/drawing/2014/main" val="2444275018"/>
                    </a:ext>
                  </a:extLst>
                </a:gridCol>
                <a:gridCol w="2068285">
                  <a:extLst>
                    <a:ext uri="{9D8B030D-6E8A-4147-A177-3AD203B41FA5}">
                      <a16:colId xmlns:a16="http://schemas.microsoft.com/office/drawing/2014/main" val="1492353728"/>
                    </a:ext>
                  </a:extLst>
                </a:gridCol>
                <a:gridCol w="4071257">
                  <a:extLst>
                    <a:ext uri="{9D8B030D-6E8A-4147-A177-3AD203B41FA5}">
                      <a16:colId xmlns:a16="http://schemas.microsoft.com/office/drawing/2014/main" val="1480411128"/>
                    </a:ext>
                  </a:extLst>
                </a:gridCol>
              </a:tblGrid>
              <a:tr h="4352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Klasse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Intervall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urchführung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urzstrecke (2x 40 m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42087428"/>
                  </a:ext>
                </a:extLst>
              </a:tr>
              <a:tr h="4352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VL + LL CC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 / 20</a:t>
                      </a:r>
                      <a:endParaRPr lang="de-D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Rundbahn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,2 s (weibl. SR: 6,4 s)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7716888"/>
                  </a:ext>
                </a:extLst>
              </a:tr>
              <a:tr h="4352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LL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15 / 22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</a:rPr>
                        <a:t>Rundbahn</a:t>
                      </a:r>
                      <a:endParaRPr lang="de-DE" sz="2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tabLst>
                          <a:tab pos="270510" algn="ctr"/>
                        </a:tabLst>
                      </a:pPr>
                      <a:r>
                        <a:rPr lang="de-DE" sz="2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,2 s (weibl. SR: 6,4 s)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14393669"/>
                  </a:ext>
                </a:extLst>
              </a:tr>
            </a:tbl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C0277D4A-0406-CDF7-813D-FDDB67C0B0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771" y="2590800"/>
            <a:ext cx="2069648" cy="206964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33D46591-78D4-0AE1-E55C-A6F8DF9906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5429" y="2590800"/>
            <a:ext cx="2069648" cy="206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300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 txBox="1">
            <a:spLocks/>
          </p:cNvSpPr>
          <p:nvPr/>
        </p:nvSpPr>
        <p:spPr>
          <a:xfrm>
            <a:off x="563978" y="1329154"/>
            <a:ext cx="7208423" cy="1005041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de-DE" sz="3600" b="1" dirty="0">
                <a:solidFill>
                  <a:srgbClr val="C00000"/>
                </a:solidFill>
                <a:latin typeface="+mn-lt"/>
                <a:cs typeface="+mn-cs"/>
              </a:rPr>
              <a:t>Ort: Allgäu-Stadion Wangen</a:t>
            </a:r>
            <a:endParaRPr lang="de-DE" sz="3600" b="1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pic>
        <p:nvPicPr>
          <p:cNvPr id="7" name="Grafik 6" descr="Ein Bild, das Transport, Auto enthält.&#10;&#10;Automatisch generierte Beschreibung">
            <a:extLst>
              <a:ext uri="{FF2B5EF4-FFF2-40B4-BE49-F238E27FC236}">
                <a16:creationId xmlns:a16="http://schemas.microsoft.com/office/drawing/2014/main" id="{F0359676-28E8-233A-3671-EE1787F8C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496" y="2518163"/>
            <a:ext cx="5200933" cy="153989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B65AD4B-2D7F-C453-5EDC-E3E1E7B5B51B}"/>
              </a:ext>
            </a:extLst>
          </p:cNvPr>
          <p:cNvSpPr txBox="1"/>
          <p:nvPr/>
        </p:nvSpPr>
        <p:spPr>
          <a:xfrm>
            <a:off x="563978" y="2334195"/>
            <a:ext cx="8711382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2400" dirty="0">
                <a:latin typeface="Formata Regular"/>
                <a:cs typeface="Arial"/>
              </a:rPr>
              <a:t>Adresse:	</a:t>
            </a:r>
            <a:r>
              <a:rPr lang="de-DE" sz="2400" dirty="0" err="1">
                <a:latin typeface="Formata Regular"/>
                <a:cs typeface="Arial"/>
              </a:rPr>
              <a:t>Argeninsel</a:t>
            </a:r>
            <a:r>
              <a:rPr lang="de-DE" sz="2400" dirty="0">
                <a:latin typeface="Formata Regular"/>
                <a:cs typeface="Arial"/>
              </a:rPr>
              <a:t> 10, 88239 Wangen i.A.</a:t>
            </a:r>
          </a:p>
          <a:p>
            <a:r>
              <a:rPr lang="de-DE" sz="2400" dirty="0"/>
              <a:t>Fahrzeit:	ca. 10 Min	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elle 9">
                <a:extLst>
                  <a:ext uri="{FF2B5EF4-FFF2-40B4-BE49-F238E27FC236}">
                    <a16:creationId xmlns:a16="http://schemas.microsoft.com/office/drawing/2014/main" id="{2ED8F00C-F2E1-63E9-963F-F747A17B34D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89947648"/>
                  </p:ext>
                </p:extLst>
              </p:nvPr>
            </p:nvGraphicFramePr>
            <p:xfrm>
              <a:off x="868777" y="4119108"/>
              <a:ext cx="9614164" cy="234382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403541">
                      <a:extLst>
                        <a:ext uri="{9D8B030D-6E8A-4147-A177-3AD203B41FA5}">
                          <a16:colId xmlns:a16="http://schemas.microsoft.com/office/drawing/2014/main" val="972007122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88081234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159324726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530513649"/>
                        </a:ext>
                      </a:extLst>
                    </a:gridCol>
                  </a:tblGrid>
                  <a:tr h="58595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Grupp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Warm Up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Sprint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Langstreck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30774740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dirty="0"/>
                            <a:t>Gruppe 1: L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0" dirty="0">
                              <a:solidFill>
                                <a:schemeClr val="tx1"/>
                              </a:solidFill>
                            </a:rPr>
                            <a:t>08:4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1" dirty="0">
                              <a:solidFill>
                                <a:srgbClr val="C00000"/>
                              </a:solidFill>
                            </a:rPr>
                            <a:t>09:0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~</m:t>
                              </m:r>
                            </m:oMath>
                          </a14:m>
                          <a:r>
                            <a:rPr lang="de-DE" sz="2400" dirty="0"/>
                            <a:t> 09: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26133863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dirty="0"/>
                            <a:t>Gruppe 2: L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0" dirty="0">
                              <a:solidFill>
                                <a:schemeClr val="tx1"/>
                              </a:solidFill>
                            </a:rPr>
                            <a:t>09:2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1" dirty="0">
                              <a:solidFill>
                                <a:srgbClr val="C00000"/>
                              </a:solidFill>
                            </a:rPr>
                            <a:t>09:4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~</m:t>
                              </m:r>
                            </m:oMath>
                          </a14:m>
                          <a:r>
                            <a:rPr lang="de-DE" sz="2400" dirty="0"/>
                            <a:t> 09:5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160568402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kern="1200" dirty="0">
                              <a:solidFill>
                                <a:schemeClr val="dk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VL + LL Coaching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kern="1200" dirty="0">
                              <a:solidFill>
                                <a:schemeClr val="dk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10:0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b="1" kern="1200" dirty="0">
                              <a:solidFill>
                                <a:srgbClr val="C00000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10: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~</m:t>
                              </m:r>
                            </m:oMath>
                          </a14:m>
                          <a:r>
                            <a:rPr lang="de-DE" sz="2400" kern="1200" dirty="0">
                              <a:solidFill>
                                <a:schemeClr val="dk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 10:30 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3539607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elle 9">
                <a:extLst>
                  <a:ext uri="{FF2B5EF4-FFF2-40B4-BE49-F238E27FC236}">
                    <a16:creationId xmlns:a16="http://schemas.microsoft.com/office/drawing/2014/main" id="{2ED8F00C-F2E1-63E9-963F-F747A17B34D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89947648"/>
                  </p:ext>
                </p:extLst>
              </p:nvPr>
            </p:nvGraphicFramePr>
            <p:xfrm>
              <a:off x="868777" y="4119108"/>
              <a:ext cx="9614164" cy="234382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403541">
                      <a:extLst>
                        <a:ext uri="{9D8B030D-6E8A-4147-A177-3AD203B41FA5}">
                          <a16:colId xmlns:a16="http://schemas.microsoft.com/office/drawing/2014/main" val="972007122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88081234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159324726"/>
                        </a:ext>
                      </a:extLst>
                    </a:gridCol>
                    <a:gridCol w="2403541">
                      <a:extLst>
                        <a:ext uri="{9D8B030D-6E8A-4147-A177-3AD203B41FA5}">
                          <a16:colId xmlns:a16="http://schemas.microsoft.com/office/drawing/2014/main" val="530513649"/>
                        </a:ext>
                      </a:extLst>
                    </a:gridCol>
                  </a:tblGrid>
                  <a:tr h="58595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Grupp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Warm Up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Sprint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dirty="0"/>
                            <a:t>Langstreck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30774740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dirty="0"/>
                            <a:t>Gruppe 1: L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0" dirty="0">
                              <a:solidFill>
                                <a:schemeClr val="tx1"/>
                              </a:solidFill>
                            </a:rPr>
                            <a:t>08:4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1" dirty="0">
                              <a:solidFill>
                                <a:srgbClr val="C00000"/>
                              </a:solidFill>
                            </a:rPr>
                            <a:t>09:0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300761" t="-108333" r="-1015" b="-20312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6133863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dirty="0"/>
                            <a:t>Gruppe 2: L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0" dirty="0">
                              <a:solidFill>
                                <a:schemeClr val="tx1"/>
                              </a:solidFill>
                            </a:rPr>
                            <a:t>09:2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2400" b="1" dirty="0">
                              <a:solidFill>
                                <a:srgbClr val="C00000"/>
                              </a:solidFill>
                            </a:rPr>
                            <a:t>09:4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300761" t="-206186" r="-1015" b="-10103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60568402"/>
                      </a:ext>
                    </a:extLst>
                  </a:tr>
                  <a:tr h="58595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kern="1200" dirty="0">
                              <a:solidFill>
                                <a:schemeClr val="dk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VL + LL Coaching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kern="1200" dirty="0">
                              <a:solidFill>
                                <a:schemeClr val="dk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10:0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2400" b="1" kern="1200" dirty="0">
                              <a:solidFill>
                                <a:srgbClr val="C00000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10: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300761" t="-309375" r="-1015" b="-208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3539607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324BF428-156A-0E32-F38D-7EF3D85ED7C7}"/>
              </a:ext>
            </a:extLst>
          </p:cNvPr>
          <p:cNvSpPr txBox="1"/>
          <p:nvPr/>
        </p:nvSpPr>
        <p:spPr>
          <a:xfrm>
            <a:off x="563978" y="395064"/>
            <a:ext cx="62697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Hinweise zur Leistungsprüfung</a:t>
            </a:r>
          </a:p>
        </p:txBody>
      </p:sp>
    </p:spTree>
    <p:extLst>
      <p:ext uri="{BB962C8B-B14F-4D97-AF65-F5344CB8AC3E}">
        <p14:creationId xmlns:p14="http://schemas.microsoft.com/office/powerpoint/2010/main" val="529748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ED17B451-7559-5515-0F98-D35BADF2DCFB}"/>
              </a:ext>
            </a:extLst>
          </p:cNvPr>
          <p:cNvSpPr txBox="1"/>
          <p:nvPr/>
        </p:nvSpPr>
        <p:spPr>
          <a:xfrm>
            <a:off x="563977" y="370465"/>
            <a:ext cx="32053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Lehrpla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0A02CF1-8354-273E-32B3-0526746A2392}"/>
              </a:ext>
            </a:extLst>
          </p:cNvPr>
          <p:cNvSpPr txBox="1"/>
          <p:nvPr/>
        </p:nvSpPr>
        <p:spPr>
          <a:xfrm>
            <a:off x="563977" y="1526722"/>
            <a:ext cx="11628023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 rtl="0" fontAlgn="base"/>
            <a:r>
              <a:rPr lang="de-DE" sz="2400" b="1" u="sng" dirty="0">
                <a:solidFill>
                  <a:srgbClr val="000000"/>
                </a:solidFill>
                <a:latin typeface="Arial"/>
                <a:cs typeface="Arial"/>
              </a:rPr>
              <a:t>Samstag, 11.07.2026</a:t>
            </a:r>
            <a:r>
              <a:rPr lang="de-DE" sz="2400" dirty="0">
                <a:solidFill>
                  <a:srgbClr val="000000"/>
                </a:solidFill>
                <a:latin typeface="Arial"/>
                <a:cs typeface="Arial"/>
              </a:rPr>
              <a:t>      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​</a:t>
            </a: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07.00 Uhr 	Frühstück​</a:t>
            </a: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dirty="0">
                <a:latin typeface="Arial" panose="020B0604020202020204" pitchFamily="34" charset="0"/>
              </a:rPr>
              <a:t>08.00 Uhr 	Anreise + Individuelle Vorbereitung </a:t>
            </a:r>
          </a:p>
          <a:p>
            <a:pPr algn="l" rtl="0" fontAlgn="base"/>
            <a:r>
              <a:rPr lang="de-DE" sz="2400" dirty="0">
                <a:latin typeface="Arial" panose="020B0604020202020204" pitchFamily="34" charset="0"/>
              </a:rPr>
              <a:t>		auf den Leistungstest  </a:t>
            </a:r>
          </a:p>
          <a:p>
            <a:pPr algn="l" rtl="0" fontAlgn="base"/>
            <a:r>
              <a:rPr lang="de-DE" sz="2400" dirty="0">
                <a:latin typeface="Arial" panose="020B0604020202020204" pitchFamily="34" charset="0"/>
              </a:rPr>
              <a:t>​</a:t>
            </a:r>
          </a:p>
          <a:p>
            <a:pPr algn="l" rtl="0" fontAlgn="base"/>
            <a:r>
              <a:rPr lang="de-DE" sz="2400" dirty="0">
                <a:latin typeface="Arial" panose="020B0604020202020204" pitchFamily="34" charset="0"/>
              </a:rPr>
              <a:t>08.45 Uhr 	Körperliche Leistungsprüfung		Keller / Kaack /	</a:t>
            </a:r>
          </a:p>
          <a:p>
            <a:pPr algn="l" rtl="0" fontAlgn="base"/>
            <a:r>
              <a:rPr lang="de-DE" sz="2400" dirty="0">
                <a:latin typeface="Arial" panose="020B0604020202020204" pitchFamily="34" charset="0"/>
              </a:rPr>
              <a:t>		Ort: Stadion Wangen</a:t>
            </a:r>
            <a:r>
              <a:rPr lang="de-DE" sz="2400" dirty="0">
                <a:solidFill>
                  <a:srgbClr val="FF0000"/>
                </a:solidFill>
                <a:latin typeface="Arial" panose="020B0604020202020204" pitchFamily="34" charset="0"/>
              </a:rPr>
              <a:t>			</a:t>
            </a:r>
            <a:r>
              <a:rPr lang="de-DE" sz="2400" dirty="0">
                <a:latin typeface="Arial" panose="020B0604020202020204" pitchFamily="34" charset="0"/>
              </a:rPr>
              <a:t>Ringer </a:t>
            </a:r>
          </a:p>
          <a:p>
            <a:pPr algn="l" rtl="0" fontAlgn="base"/>
            <a:endParaRPr lang="de-DE" sz="2400" dirty="0">
              <a:latin typeface="Arial" panose="020B0604020202020204" pitchFamily="34" charset="0"/>
            </a:endParaRPr>
          </a:p>
          <a:p>
            <a:pPr algn="l" rtl="0" fontAlgn="base"/>
            <a:r>
              <a:rPr lang="de-DE" sz="2400" dirty="0">
                <a:solidFill>
                  <a:srgbClr val="000000"/>
                </a:solidFill>
                <a:latin typeface="Arial" panose="020B0604020202020204" pitchFamily="34" charset="0"/>
              </a:rPr>
              <a:t>12.30 Uhr 	Mittagessen​</a:t>
            </a:r>
          </a:p>
          <a:p>
            <a:pPr algn="l" rtl="0" fontAlgn="base"/>
            <a:endParaRPr lang="de-DE" sz="2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07271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RzDiL4Wa7uVMqCoeN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Formata Regular"/>
        <a:ea typeface=""/>
        <a:cs typeface=""/>
      </a:majorFont>
      <a:minorFont>
        <a:latin typeface="Formata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0512d9b-840c-454c-83c8-cf5b0037ddb5">
      <Terms xmlns="http://schemas.microsoft.com/office/infopath/2007/PartnerControls"/>
    </lcf76f155ced4ddcb4097134ff3c332f>
    <TaxCatchAll xmlns="f611712a-a44c-4b72-8f5f-ff3585c7a94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ECA2DB43AC786479C68D76BFAC39F9C" ma:contentTypeVersion="12" ma:contentTypeDescription="Ein neues Dokument erstellen." ma:contentTypeScope="" ma:versionID="7899ae8cc5565e6c63d05091b3772f10">
  <xsd:schema xmlns:xsd="http://www.w3.org/2001/XMLSchema" xmlns:xs="http://www.w3.org/2001/XMLSchema" xmlns:p="http://schemas.microsoft.com/office/2006/metadata/properties" xmlns:ns2="60512d9b-840c-454c-83c8-cf5b0037ddb5" xmlns:ns3="f611712a-a44c-4b72-8f5f-ff3585c7a949" targetNamespace="http://schemas.microsoft.com/office/2006/metadata/properties" ma:root="true" ma:fieldsID="ee657bb1f799d724e0733fc05b38a7cb" ns2:_="" ns3:_="">
    <xsd:import namespace="60512d9b-840c-454c-83c8-cf5b0037ddb5"/>
    <xsd:import namespace="f611712a-a44c-4b72-8f5f-ff3585c7a9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512d9b-840c-454c-83c8-cf5b0037dd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01855c83-1cf3-4667-a34a-741a5f3279e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1712a-a44c-4b72-8f5f-ff3585c7a949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2c36e02-d0ed-41aa-abbc-591d248b67a5}" ma:internalName="TaxCatchAll" ma:showField="CatchAllData" ma:web="f611712a-a44c-4b72-8f5f-ff3585c7a9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0C0336-62B1-4784-A38D-CC584E39D9E9}">
  <ds:schemaRefs>
    <ds:schemaRef ds:uri="8e6a3909-3966-4fad-aa5c-340935e641a9"/>
    <ds:schemaRef ds:uri="http://schemas.microsoft.com/office/2006/metadata/properties"/>
    <ds:schemaRef ds:uri="http://schemas.microsoft.com/office/infopath/2007/PartnerControls"/>
    <ds:schemaRef ds:uri="60512d9b-840c-454c-83c8-cf5b0037ddb5"/>
    <ds:schemaRef ds:uri="f611712a-a44c-4b72-8f5f-ff3585c7a949"/>
  </ds:schemaRefs>
</ds:datastoreItem>
</file>

<file path=customXml/itemProps2.xml><?xml version="1.0" encoding="utf-8"?>
<ds:datastoreItem xmlns:ds="http://schemas.openxmlformats.org/officeDocument/2006/customXml" ds:itemID="{287B5830-1AFF-433C-8C95-B28E3E613A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A014D7-19B4-49C4-AF54-612C554AAA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512d9b-840c-454c-83c8-cf5b0037ddb5"/>
    <ds:schemaRef ds:uri="f611712a-a44c-4b72-8f5f-ff3585c7a9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2</Words>
  <Application>Microsoft Office PowerPoint</Application>
  <PresentationFormat>Breitbild</PresentationFormat>
  <Paragraphs>137</Paragraphs>
  <Slides>14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4</vt:i4>
      </vt:variant>
      <vt:variant>
        <vt:lpstr>Folientitel</vt:lpstr>
      </vt:variant>
      <vt:variant>
        <vt:i4>14</vt:i4>
      </vt:variant>
    </vt:vector>
  </HeadingPairs>
  <TitlesOfParts>
    <vt:vector size="18" baseType="lpstr">
      <vt:lpstr>Larissa</vt:lpstr>
      <vt:lpstr>Benutzerdefiniertes Design</vt:lpstr>
      <vt:lpstr>1_Benutzerdefiniertes Design</vt:lpstr>
      <vt:lpstr>2_Benutzerdefiniertes Desig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eedback / offene Fragen Abschluss</vt:lpstr>
      <vt:lpstr>PowerPoint-Prä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aumeister, Heiner</dc:creator>
  <cp:lastModifiedBy>Philipp Herbst</cp:lastModifiedBy>
  <cp:revision>43</cp:revision>
  <cp:lastPrinted>2021-06-12T11:43:29Z</cp:lastPrinted>
  <dcterms:created xsi:type="dcterms:W3CDTF">2013-01-08T09:50:43Z</dcterms:created>
  <dcterms:modified xsi:type="dcterms:W3CDTF">2026-07-06T18:4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CA2DB43AC786479C68D76BFAC39F9C</vt:lpwstr>
  </property>
  <property fmtid="{D5CDD505-2E9C-101B-9397-08002B2CF9AE}" pid="3" name="MediaServiceImageTags">
    <vt:lpwstr/>
  </property>
</Properties>
</file>